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1" r:id="rId4"/>
  </p:sldMasterIdLst>
  <p:notesMasterIdLst>
    <p:notesMasterId r:id="rId6"/>
  </p:notesMasterIdLst>
  <p:handoutMasterIdLst>
    <p:handoutMasterId r:id="rId7"/>
  </p:handoutMasterIdLst>
  <p:sldIdLst>
    <p:sldId id="560" r:id="rId5"/>
  </p:sldIdLst>
  <p:sldSz cx="12192000" cy="6858000"/>
  <p:notesSz cx="6858000" cy="9144000"/>
  <p:custDataLst>
    <p:tags r:id="rId8"/>
  </p:custDataLst>
  <p:defaultTextStyle>
    <a:defPPr>
      <a:defRPr lang="pt-P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5" orient="horz" pos="2341" userDrawn="1">
          <p15:clr>
            <a:srgbClr val="A4A3A4"/>
          </p15:clr>
        </p15:guide>
        <p15:guide id="7" pos="365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AFAFA"/>
    <a:srgbClr val="EBEBEB"/>
    <a:srgbClr val="F9F9F9"/>
    <a:srgbClr val="0070AD"/>
    <a:srgbClr val="022B41"/>
    <a:srgbClr val="002639"/>
    <a:srgbClr val="001C29"/>
    <a:srgbClr val="FF6327"/>
    <a:srgbClr val="01D1D0"/>
    <a:srgbClr val="E6E7E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4" autoAdjust="0"/>
    <p:restoredTop sz="95291" autoAdjust="0"/>
  </p:normalViewPr>
  <p:slideViewPr>
    <p:cSldViewPr>
      <p:cViewPr varScale="1">
        <p:scale>
          <a:sx n="67" d="100"/>
          <a:sy n="67" d="100"/>
        </p:scale>
        <p:origin x="644" y="-76"/>
      </p:cViewPr>
      <p:guideLst>
        <p:guide orient="horz" pos="2341"/>
        <p:guide pos="365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-4128"/>
    </p:cViewPr>
  </p:sorterViewPr>
  <p:notesViewPr>
    <p:cSldViewPr>
      <p:cViewPr varScale="1">
        <p:scale>
          <a:sx n="63" d="100"/>
          <a:sy n="63" d="100"/>
        </p:scale>
        <p:origin x="3134" y="77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customXml" Target="../customXml/item3.xml"/><Relationship Id="rId7" Type="http://schemas.openxmlformats.org/officeDocument/2006/relationships/handoutMaster" Target="handoutMasters/handoutMaster1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theme" Target="theme/theme1.xml"/><Relationship Id="rId5" Type="http://schemas.openxmlformats.org/officeDocument/2006/relationships/slide" Target="slides/slide1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ED8B6225-3E94-4525-8747-A8CEEE07C47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PT" sz="90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EE33FD8-B984-44FE-83F0-5C989EE6249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6C988DC-9DE3-4390-97AB-D61B85DACE57}" type="datetimeFigureOut">
              <a:rPr lang="pt-PT" sz="900" smtClean="0"/>
              <a:pPr/>
              <a:t>25/03/2022</a:t>
            </a:fld>
            <a:endParaRPr lang="pt-PT" sz="90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8AD1E4F-EFF7-4551-A0B7-35D2A74F4F4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PT" sz="90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C3F35C8-35E9-48DD-971F-B2366CC5B7D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F190BF9-40D8-49B5-87EF-599BB2C7EE93}" type="slidenum">
              <a:rPr lang="pt-PT" sz="900" smtClean="0"/>
              <a:pPr/>
              <a:t>‹#›</a:t>
            </a:fld>
            <a:endParaRPr lang="pt-PT" sz="900"/>
          </a:p>
        </p:txBody>
      </p:sp>
    </p:spTree>
    <p:extLst>
      <p:ext uri="{BB962C8B-B14F-4D97-AF65-F5344CB8AC3E}">
        <p14:creationId xmlns:p14="http://schemas.microsoft.com/office/powerpoint/2010/main" val="360930761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o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900"/>
            </a:lvl1pPr>
          </a:lstStyle>
          <a:p>
            <a:endParaRPr lang="pt-BR"/>
          </a:p>
        </p:txBody>
      </p:sp>
      <p:sp>
        <p:nvSpPr>
          <p:cNvPr id="3" name="Marcador de Posição d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900"/>
            </a:lvl1pPr>
          </a:lstStyle>
          <a:p>
            <a:fld id="{0835B8F7-DAC4-4931-8AED-4356A8B2FD64}" type="datetimeFigureOut">
              <a:rPr lang="pt-BR" smtClean="0"/>
              <a:pPr/>
              <a:t>25/03/2022</a:t>
            </a:fld>
            <a:endParaRPr lang="pt-BR"/>
          </a:p>
        </p:txBody>
      </p:sp>
      <p:sp>
        <p:nvSpPr>
          <p:cNvPr id="4" name="Marcador de Posição da Imagem do Diapositivo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Marcador de Posição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PT" dirty="0"/>
              <a:t>Insert comments</a:t>
            </a:r>
            <a:endParaRPr lang="pt-BR" dirty="0"/>
          </a:p>
        </p:txBody>
      </p:sp>
      <p:sp>
        <p:nvSpPr>
          <p:cNvPr id="6" name="Marcador de Posição do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900"/>
            </a:lvl1pPr>
          </a:lstStyle>
          <a:p>
            <a:endParaRPr lang="pt-BR"/>
          </a:p>
        </p:txBody>
      </p:sp>
      <p:sp>
        <p:nvSpPr>
          <p:cNvPr id="7" name="Marcador de Posição do Número do Diapositivo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900"/>
            </a:lvl1pPr>
          </a:lstStyle>
          <a:p>
            <a:fld id="{C0696B5C-12A0-4042-B4D0-BD3B9A4F58C6}" type="slidenum">
              <a:rPr lang="pt-BR" smtClean="0"/>
              <a:pPr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57533817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Slide Image Placeholder 1">
            <a:extLst>
              <a:ext uri="{FF2B5EF4-FFF2-40B4-BE49-F238E27FC236}">
                <a16:creationId xmlns:a16="http://schemas.microsoft.com/office/drawing/2014/main" id="{FE8C64E9-6908-4C8D-A34B-006D18F0D63F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8195" name="Notes Placeholder 2">
            <a:extLst>
              <a:ext uri="{FF2B5EF4-FFF2-40B4-BE49-F238E27FC236}">
                <a16:creationId xmlns:a16="http://schemas.microsoft.com/office/drawing/2014/main" id="{9C8E31D1-17D2-4FF9-845C-778BEC269434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nl-NL" altLang="nl-NL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8" y="1815352"/>
            <a:ext cx="11700000" cy="446620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8" y="1815351"/>
            <a:ext cx="11700000" cy="446620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227349" y="1148607"/>
            <a:ext cx="11700000" cy="50405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349" y="2205319"/>
            <a:ext cx="5400000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/>
            </a:lvl1pPr>
            <a:lvl2pPr>
              <a:lnSpc>
                <a:spcPct val="100000"/>
              </a:lnSpc>
              <a:spcBef>
                <a:spcPts val="0"/>
              </a:spcBef>
              <a:defRPr sz="1600"/>
            </a:lvl2pPr>
            <a:lvl3pPr>
              <a:lnSpc>
                <a:spcPct val="100000"/>
              </a:lnSpc>
              <a:spcBef>
                <a:spcPts val="0"/>
              </a:spcBef>
              <a:defRPr sz="1600"/>
            </a:lvl3pPr>
            <a:lvl4pPr>
              <a:lnSpc>
                <a:spcPct val="100000"/>
              </a:lnSpc>
              <a:spcBef>
                <a:spcPts val="0"/>
              </a:spcBef>
              <a:defRPr sz="1600"/>
            </a:lvl4pPr>
            <a:lvl5pPr>
              <a:lnSpc>
                <a:spcPct val="100000"/>
              </a:lnSpc>
              <a:spcBef>
                <a:spcPts val="0"/>
              </a:spcBef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27349" y="1420989"/>
            <a:ext cx="5400000" cy="743987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800" b="1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47BDC0DA-1585-454D-9E74-41D2AFC0FEE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4016" y="1420989"/>
            <a:ext cx="5400000" cy="743987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800" b="1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DDCA2B41-0A1F-45C2-A74A-EB99E41096F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81836" t="-4713" b="16530"/>
          <a:stretch/>
        </p:blipFill>
        <p:spPr>
          <a:xfrm>
            <a:off x="11491419" y="164829"/>
            <a:ext cx="424356" cy="459624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74016" y="2205319"/>
            <a:ext cx="5400000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/>
            </a:lvl1pPr>
            <a:lvl2pPr>
              <a:lnSpc>
                <a:spcPct val="100000"/>
              </a:lnSpc>
              <a:spcBef>
                <a:spcPts val="0"/>
              </a:spcBef>
              <a:defRPr sz="1600"/>
            </a:lvl2pPr>
            <a:lvl3pPr>
              <a:lnSpc>
                <a:spcPct val="100000"/>
              </a:lnSpc>
              <a:spcBef>
                <a:spcPts val="0"/>
              </a:spcBef>
              <a:defRPr sz="1600"/>
            </a:lvl3pPr>
            <a:lvl4pPr>
              <a:lnSpc>
                <a:spcPct val="100000"/>
              </a:lnSpc>
              <a:spcBef>
                <a:spcPts val="0"/>
              </a:spcBef>
              <a:defRPr sz="1600"/>
            </a:lvl4pPr>
            <a:lvl5pPr>
              <a:lnSpc>
                <a:spcPct val="100000"/>
              </a:lnSpc>
              <a:spcBef>
                <a:spcPts val="0"/>
              </a:spcBef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635130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350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27350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313358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13358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384125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384125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numbering, 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5" name="Objec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/>
          <p:cNvSpPr/>
          <p:nvPr userDrawn="1"/>
        </p:nvSpPr>
        <p:spPr>
          <a:xfrm>
            <a:off x="0" y="0"/>
            <a:ext cx="919998" cy="42862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1510" name="Freeform 6"/>
          <p:cNvSpPr>
            <a:spLocks/>
          </p:cNvSpPr>
          <p:nvPr userDrawn="1"/>
        </p:nvSpPr>
        <p:spPr bwMode="auto">
          <a:xfrm>
            <a:off x="0" y="0"/>
            <a:ext cx="919998" cy="1146174"/>
          </a:xfrm>
          <a:custGeom>
            <a:avLst/>
            <a:gdLst/>
            <a:ahLst/>
            <a:cxnLst>
              <a:cxn ang="0">
                <a:pos x="1681" y="25"/>
              </a:cxn>
              <a:cxn ang="0">
                <a:pos x="1655" y="0"/>
              </a:cxn>
              <a:cxn ang="0">
                <a:pos x="22" y="0"/>
              </a:cxn>
              <a:cxn ang="0">
                <a:pos x="0" y="23"/>
              </a:cxn>
              <a:cxn ang="0">
                <a:pos x="0" y="2095"/>
              </a:cxn>
              <a:cxn ang="0">
                <a:pos x="336" y="2085"/>
              </a:cxn>
              <a:cxn ang="0">
                <a:pos x="682" y="2056"/>
              </a:cxn>
              <a:cxn ang="0">
                <a:pos x="897" y="2032"/>
              </a:cxn>
              <a:cxn ang="0">
                <a:pos x="1082" y="2005"/>
              </a:cxn>
              <a:cxn ang="0">
                <a:pos x="1332" y="1960"/>
              </a:cxn>
              <a:cxn ang="0">
                <a:pos x="1567" y="1911"/>
              </a:cxn>
              <a:cxn ang="0">
                <a:pos x="1680" y="1883"/>
              </a:cxn>
              <a:cxn ang="0">
                <a:pos x="1681" y="25"/>
              </a:cxn>
            </a:cxnLst>
            <a:rect l="0" t="0" r="r" b="b"/>
            <a:pathLst>
              <a:path w="1681" h="2095">
                <a:moveTo>
                  <a:pt x="1681" y="25"/>
                </a:moveTo>
                <a:cubicBezTo>
                  <a:pt x="1681" y="3"/>
                  <a:pt x="1675" y="0"/>
                  <a:pt x="1655" y="0"/>
                </a:cubicBezTo>
                <a:cubicBezTo>
                  <a:pt x="1111" y="1"/>
                  <a:pt x="567" y="1"/>
                  <a:pt x="22" y="0"/>
                </a:cubicBezTo>
                <a:cubicBezTo>
                  <a:pt x="5" y="0"/>
                  <a:pt x="0" y="3"/>
                  <a:pt x="0" y="23"/>
                </a:cubicBezTo>
                <a:cubicBezTo>
                  <a:pt x="0" y="713"/>
                  <a:pt x="0" y="1404"/>
                  <a:pt x="0" y="2095"/>
                </a:cubicBezTo>
                <a:cubicBezTo>
                  <a:pt x="112" y="2091"/>
                  <a:pt x="224" y="2088"/>
                  <a:pt x="336" y="2085"/>
                </a:cubicBezTo>
                <a:cubicBezTo>
                  <a:pt x="452" y="2081"/>
                  <a:pt x="567" y="2068"/>
                  <a:pt x="682" y="2056"/>
                </a:cubicBezTo>
                <a:cubicBezTo>
                  <a:pt x="754" y="2049"/>
                  <a:pt x="826" y="2045"/>
                  <a:pt x="897" y="2032"/>
                </a:cubicBezTo>
                <a:cubicBezTo>
                  <a:pt x="958" y="2020"/>
                  <a:pt x="1021" y="2018"/>
                  <a:pt x="1082" y="2005"/>
                </a:cubicBezTo>
                <a:cubicBezTo>
                  <a:pt x="1165" y="1989"/>
                  <a:pt x="1249" y="1977"/>
                  <a:pt x="1332" y="1960"/>
                </a:cubicBezTo>
                <a:cubicBezTo>
                  <a:pt x="1410" y="1945"/>
                  <a:pt x="1489" y="1928"/>
                  <a:pt x="1567" y="1911"/>
                </a:cubicBezTo>
                <a:cubicBezTo>
                  <a:pt x="1605" y="1904"/>
                  <a:pt x="1643" y="1895"/>
                  <a:pt x="1680" y="1883"/>
                </a:cubicBezTo>
                <a:cubicBezTo>
                  <a:pt x="1680" y="1263"/>
                  <a:pt x="1680" y="644"/>
                  <a:pt x="1681" y="25"/>
                </a:cubicBez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74872" y="0"/>
            <a:ext cx="10377711" cy="11049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7" y="1815351"/>
            <a:ext cx="11700000" cy="44676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974872" y="1148607"/>
            <a:ext cx="10940903" cy="50405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0" y="48742"/>
            <a:ext cx="914400" cy="914400"/>
          </a:xfrm>
        </p:spPr>
        <p:txBody>
          <a:bodyPr anchor="ctr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GB" sz="4000" kern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#</a:t>
            </a:r>
            <a:endParaRPr lang="en-GB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-Single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F5F5AEA1-6A77-4676-B8B3-EF658F5F8430}"/>
              </a:ext>
            </a:extLst>
          </p:cNvPr>
          <p:cNvSpPr/>
          <p:nvPr userDrawn="1"/>
        </p:nvSpPr>
        <p:spPr>
          <a:xfrm flipV="1">
            <a:off x="1" y="0"/>
            <a:ext cx="5204012" cy="3119718"/>
          </a:xfrm>
          <a:custGeom>
            <a:avLst/>
            <a:gdLst>
              <a:gd name="connsiteX0" fmla="*/ 2836724 w 6262141"/>
              <a:gd name="connsiteY0" fmla="*/ 775 h 4159686"/>
              <a:gd name="connsiteX1" fmla="*/ 3822188 w 6262141"/>
              <a:gd name="connsiteY1" fmla="*/ 22965 h 4159686"/>
              <a:gd name="connsiteX2" fmla="*/ 5982756 w 6262141"/>
              <a:gd name="connsiteY2" fmla="*/ 3706589 h 4159686"/>
              <a:gd name="connsiteX3" fmla="*/ 6262141 w 6262141"/>
              <a:gd name="connsiteY3" fmla="*/ 4159686 h 4159686"/>
              <a:gd name="connsiteX4" fmla="*/ 0 w 6262141"/>
              <a:gd name="connsiteY4" fmla="*/ 4159686 h 4159686"/>
              <a:gd name="connsiteX5" fmla="*/ 0 w 6262141"/>
              <a:gd name="connsiteY5" fmla="*/ 3700458 h 4159686"/>
              <a:gd name="connsiteX6" fmla="*/ 0 w 6262141"/>
              <a:gd name="connsiteY6" fmla="*/ 3329154 h 4159686"/>
              <a:gd name="connsiteX7" fmla="*/ 0 w 6262141"/>
              <a:gd name="connsiteY7" fmla="*/ 2944589 h 4159686"/>
              <a:gd name="connsiteX8" fmla="*/ 0 w 6262141"/>
              <a:gd name="connsiteY8" fmla="*/ 2546533 h 4159686"/>
              <a:gd name="connsiteX9" fmla="*/ 0 w 6262141"/>
              <a:gd name="connsiteY9" fmla="*/ 2134752 h 4159686"/>
              <a:gd name="connsiteX10" fmla="*/ 0 w 6262141"/>
              <a:gd name="connsiteY10" fmla="*/ 1709014 h 4159686"/>
              <a:gd name="connsiteX11" fmla="*/ 0 w 6262141"/>
              <a:gd name="connsiteY11" fmla="*/ 1269085 h 4159686"/>
              <a:gd name="connsiteX12" fmla="*/ 0 w 6262141"/>
              <a:gd name="connsiteY12" fmla="*/ 814735 h 4159686"/>
              <a:gd name="connsiteX13" fmla="*/ 0 w 6262141"/>
              <a:gd name="connsiteY13" fmla="*/ 345728 h 4159686"/>
              <a:gd name="connsiteX14" fmla="*/ 2836724 w 6262141"/>
              <a:gd name="connsiteY14" fmla="*/ 775 h 4159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6262141" h="4159686">
                <a:moveTo>
                  <a:pt x="2836724" y="775"/>
                </a:moveTo>
                <a:cubicBezTo>
                  <a:pt x="3163345" y="-2587"/>
                  <a:pt x="3492318" y="5034"/>
                  <a:pt x="3822188" y="22965"/>
                </a:cubicBezTo>
                <a:cubicBezTo>
                  <a:pt x="4104550" y="1058496"/>
                  <a:pt x="5095168" y="2317803"/>
                  <a:pt x="5982756" y="3706589"/>
                </a:cubicBezTo>
                <a:lnTo>
                  <a:pt x="6262141" y="4159686"/>
                </a:lnTo>
                <a:lnTo>
                  <a:pt x="0" y="4159686"/>
                </a:lnTo>
                <a:lnTo>
                  <a:pt x="0" y="3700458"/>
                </a:lnTo>
                <a:lnTo>
                  <a:pt x="0" y="3329154"/>
                </a:lnTo>
                <a:lnTo>
                  <a:pt x="0" y="2944589"/>
                </a:lnTo>
                <a:lnTo>
                  <a:pt x="0" y="2546533"/>
                </a:lnTo>
                <a:lnTo>
                  <a:pt x="0" y="2134752"/>
                </a:lnTo>
                <a:lnTo>
                  <a:pt x="0" y="1709014"/>
                </a:lnTo>
                <a:lnTo>
                  <a:pt x="0" y="1269085"/>
                </a:lnTo>
                <a:lnTo>
                  <a:pt x="0" y="814735"/>
                </a:lnTo>
                <a:lnTo>
                  <a:pt x="0" y="345728"/>
                </a:lnTo>
                <a:cubicBezTo>
                  <a:pt x="898178" y="119794"/>
                  <a:pt x="1856863" y="10862"/>
                  <a:pt x="2836724" y="775"/>
                </a:cubicBezTo>
                <a:close/>
              </a:path>
            </a:pathLst>
          </a:custGeom>
          <a:solidFill>
            <a:srgbClr val="12AB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dirty="0"/>
          </a:p>
        </p:txBody>
      </p:sp>
      <p:sp>
        <p:nvSpPr>
          <p:cNvPr id="26" name="Text Placeholder 4">
            <a:extLst>
              <a:ext uri="{FF2B5EF4-FFF2-40B4-BE49-F238E27FC236}">
                <a16:creationId xmlns:a16="http://schemas.microsoft.com/office/drawing/2014/main" id="{7E551D69-F21D-4601-B4BD-97ECB52F39D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83129" y="5278426"/>
            <a:ext cx="3296647" cy="331986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600" b="1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Insert education </a:t>
            </a:r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BC359575-5CC3-4B2F-91E7-19D6A150BE7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83129" y="3916350"/>
            <a:ext cx="3296647" cy="412363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2000" b="1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Insert Name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53745724-67BB-4475-9660-FEEE1226861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82081" y="4344097"/>
            <a:ext cx="3304144" cy="89484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C78431F2-3F85-4748-A6BC-A08250A6D35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82081" y="5601397"/>
            <a:ext cx="3297695" cy="71386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13" name="Oval 20">
            <a:extLst>
              <a:ext uri="{FF2B5EF4-FFF2-40B4-BE49-F238E27FC236}">
                <a16:creationId xmlns:a16="http://schemas.microsoft.com/office/drawing/2014/main" id="{1EFB3510-D39A-47CF-8191-109DDF9E53D5}"/>
              </a:ext>
            </a:extLst>
          </p:cNvPr>
          <p:cNvSpPr/>
          <p:nvPr userDrawn="1"/>
        </p:nvSpPr>
        <p:spPr>
          <a:xfrm>
            <a:off x="1381192" y="1147034"/>
            <a:ext cx="2609222" cy="2465696"/>
          </a:xfrm>
          <a:custGeom>
            <a:avLst/>
            <a:gdLst>
              <a:gd name="connsiteX0" fmla="*/ 0 w 3314251"/>
              <a:gd name="connsiteY0" fmla="*/ 1564410 h 3128820"/>
              <a:gd name="connsiteX1" fmla="*/ 1657126 w 3314251"/>
              <a:gd name="connsiteY1" fmla="*/ 0 h 3128820"/>
              <a:gd name="connsiteX2" fmla="*/ 3314252 w 3314251"/>
              <a:gd name="connsiteY2" fmla="*/ 1564410 h 3128820"/>
              <a:gd name="connsiteX3" fmla="*/ 1657126 w 3314251"/>
              <a:gd name="connsiteY3" fmla="*/ 3128820 h 3128820"/>
              <a:gd name="connsiteX4" fmla="*/ 0 w 3314251"/>
              <a:gd name="connsiteY4" fmla="*/ 1564410 h 3128820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5821 h 3130231"/>
              <a:gd name="connsiteX1" fmla="*/ 1657126 w 3314252"/>
              <a:gd name="connsiteY1" fmla="*/ 1411 h 3130231"/>
              <a:gd name="connsiteX2" fmla="*/ 3314252 w 3314252"/>
              <a:gd name="connsiteY2" fmla="*/ 1565821 h 3130231"/>
              <a:gd name="connsiteX3" fmla="*/ 1657126 w 3314252"/>
              <a:gd name="connsiteY3" fmla="*/ 3130231 h 3130231"/>
              <a:gd name="connsiteX4" fmla="*/ 0 w 3314252"/>
              <a:gd name="connsiteY4" fmla="*/ 1565821 h 3130231"/>
              <a:gd name="connsiteX0" fmla="*/ 0 w 3314252"/>
              <a:gd name="connsiteY0" fmla="*/ 1567937 h 3132347"/>
              <a:gd name="connsiteX1" fmla="*/ 1657126 w 3314252"/>
              <a:gd name="connsiteY1" fmla="*/ 3527 h 3132347"/>
              <a:gd name="connsiteX2" fmla="*/ 3314252 w 3314252"/>
              <a:gd name="connsiteY2" fmla="*/ 1567937 h 3132347"/>
              <a:gd name="connsiteX3" fmla="*/ 1657126 w 3314252"/>
              <a:gd name="connsiteY3" fmla="*/ 3132347 h 3132347"/>
              <a:gd name="connsiteX4" fmla="*/ 0 w 3314252"/>
              <a:gd name="connsiteY4" fmla="*/ 1567937 h 3132347"/>
              <a:gd name="connsiteX0" fmla="*/ 0 w 3314252"/>
              <a:gd name="connsiteY0" fmla="*/ 1564505 h 3128915"/>
              <a:gd name="connsiteX1" fmla="*/ 1657126 w 3314252"/>
              <a:gd name="connsiteY1" fmla="*/ 95 h 3128915"/>
              <a:gd name="connsiteX2" fmla="*/ 3314252 w 3314252"/>
              <a:gd name="connsiteY2" fmla="*/ 1564505 h 3128915"/>
              <a:gd name="connsiteX3" fmla="*/ 1657126 w 3314252"/>
              <a:gd name="connsiteY3" fmla="*/ 3128915 h 3128915"/>
              <a:gd name="connsiteX4" fmla="*/ 0 w 3314252"/>
              <a:gd name="connsiteY4" fmla="*/ 1564505 h 3128915"/>
              <a:gd name="connsiteX0" fmla="*/ 0 w 3314252"/>
              <a:gd name="connsiteY0" fmla="*/ 1565503 h 3129913"/>
              <a:gd name="connsiteX1" fmla="*/ 1657126 w 3314252"/>
              <a:gd name="connsiteY1" fmla="*/ 1093 h 3129913"/>
              <a:gd name="connsiteX2" fmla="*/ 3314252 w 3314252"/>
              <a:gd name="connsiteY2" fmla="*/ 1565503 h 3129913"/>
              <a:gd name="connsiteX3" fmla="*/ 1657126 w 3314252"/>
              <a:gd name="connsiteY3" fmla="*/ 3129913 h 3129913"/>
              <a:gd name="connsiteX4" fmla="*/ 0 w 3314252"/>
              <a:gd name="connsiteY4" fmla="*/ 1565503 h 3129913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4433 h 3128843"/>
              <a:gd name="connsiteX1" fmla="*/ 1657126 w 3314252"/>
              <a:gd name="connsiteY1" fmla="*/ 23 h 3128843"/>
              <a:gd name="connsiteX2" fmla="*/ 3314252 w 3314252"/>
              <a:gd name="connsiteY2" fmla="*/ 1564433 h 3128843"/>
              <a:gd name="connsiteX3" fmla="*/ 1657126 w 3314252"/>
              <a:gd name="connsiteY3" fmla="*/ 3128843 h 3128843"/>
              <a:gd name="connsiteX4" fmla="*/ 0 w 3314252"/>
              <a:gd name="connsiteY4" fmla="*/ 1564433 h 3128843"/>
              <a:gd name="connsiteX0" fmla="*/ 0 w 3314252"/>
              <a:gd name="connsiteY0" fmla="*/ 1564433 h 3129053"/>
              <a:gd name="connsiteX1" fmla="*/ 1657126 w 3314252"/>
              <a:gd name="connsiteY1" fmla="*/ 23 h 3129053"/>
              <a:gd name="connsiteX2" fmla="*/ 3314252 w 3314252"/>
              <a:gd name="connsiteY2" fmla="*/ 1564433 h 3129053"/>
              <a:gd name="connsiteX3" fmla="*/ 1657126 w 3314252"/>
              <a:gd name="connsiteY3" fmla="*/ 3128843 h 3129053"/>
              <a:gd name="connsiteX4" fmla="*/ 0 w 3314252"/>
              <a:gd name="connsiteY4" fmla="*/ 1564433 h 3129053"/>
              <a:gd name="connsiteX0" fmla="*/ 0 w 3314252"/>
              <a:gd name="connsiteY0" fmla="*/ 1564433 h 3131880"/>
              <a:gd name="connsiteX1" fmla="*/ 1657126 w 3314252"/>
              <a:gd name="connsiteY1" fmla="*/ 23 h 3131880"/>
              <a:gd name="connsiteX2" fmla="*/ 3314252 w 3314252"/>
              <a:gd name="connsiteY2" fmla="*/ 1564433 h 3131880"/>
              <a:gd name="connsiteX3" fmla="*/ 1657126 w 3314252"/>
              <a:gd name="connsiteY3" fmla="*/ 3128843 h 3131880"/>
              <a:gd name="connsiteX4" fmla="*/ 0 w 3314252"/>
              <a:gd name="connsiteY4" fmla="*/ 1564433 h 3131880"/>
              <a:gd name="connsiteX0" fmla="*/ 0 w 3314252"/>
              <a:gd name="connsiteY0" fmla="*/ 1564433 h 3131423"/>
              <a:gd name="connsiteX1" fmla="*/ 1657126 w 3314252"/>
              <a:gd name="connsiteY1" fmla="*/ 23 h 3131423"/>
              <a:gd name="connsiteX2" fmla="*/ 3314252 w 3314252"/>
              <a:gd name="connsiteY2" fmla="*/ 1564433 h 3131423"/>
              <a:gd name="connsiteX3" fmla="*/ 1657126 w 3314252"/>
              <a:gd name="connsiteY3" fmla="*/ 3128843 h 3131423"/>
              <a:gd name="connsiteX4" fmla="*/ 0 w 3314252"/>
              <a:gd name="connsiteY4" fmla="*/ 1564433 h 31314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14252" h="3131423">
                <a:moveTo>
                  <a:pt x="0" y="1564433"/>
                </a:moveTo>
                <a:cubicBezTo>
                  <a:pt x="0" y="700433"/>
                  <a:pt x="775256" y="19074"/>
                  <a:pt x="1657126" y="23"/>
                </a:cubicBezTo>
                <a:cubicBezTo>
                  <a:pt x="2639009" y="-4740"/>
                  <a:pt x="3314252" y="700433"/>
                  <a:pt x="3314252" y="1564433"/>
                </a:cubicBezTo>
                <a:cubicBezTo>
                  <a:pt x="3314252" y="2428433"/>
                  <a:pt x="2367543" y="3071694"/>
                  <a:pt x="1657126" y="3128843"/>
                </a:cubicBezTo>
                <a:cubicBezTo>
                  <a:pt x="665721" y="3181230"/>
                  <a:pt x="0" y="2428433"/>
                  <a:pt x="0" y="1564433"/>
                </a:cubicBezTo>
                <a:close/>
              </a:path>
            </a:pathLst>
          </a:custGeom>
          <a:solidFill>
            <a:srgbClr val="95E61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58332367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nePager Template 2017 N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3">
            <a:extLst>
              <a:ext uri="{FF2B5EF4-FFF2-40B4-BE49-F238E27FC236}">
                <a16:creationId xmlns:a16="http://schemas.microsoft.com/office/drawing/2014/main" id="{9D2BDE31-324A-48D9-B4FF-035BEA65875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270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E3CEDC4D-033D-4D91-8567-3DB7DAE7163D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76250" y="2697163"/>
            <a:ext cx="1392238" cy="276225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defRPr/>
            </a:pPr>
            <a:r>
              <a:rPr lang="nl-NL" altLang="nl-NL" sz="1200" b="1" dirty="0">
                <a:solidFill>
                  <a:srgbClr val="0070AD"/>
                </a:solidFill>
              </a:rPr>
              <a:t>Strength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339581F-401A-4397-A921-4BD17DB75784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121275" y="2695575"/>
            <a:ext cx="1876425" cy="277813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defRPr/>
            </a:pPr>
            <a:r>
              <a:rPr lang="nl-NL" altLang="nl-NL" sz="1200" b="1" dirty="0">
                <a:solidFill>
                  <a:srgbClr val="0070AD"/>
                </a:solidFill>
              </a:rPr>
              <a:t>Achivement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F4598366-533C-437A-8E31-70591EDA43A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9366250" y="320675"/>
            <a:ext cx="2779713" cy="276225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defRPr/>
            </a:pPr>
            <a:r>
              <a:rPr lang="nl-NL" altLang="nl-NL" sz="1200" b="1">
                <a:solidFill>
                  <a:srgbClr val="0070AD"/>
                </a:solidFill>
              </a:rPr>
              <a:t>Education and certificates</a:t>
            </a:r>
          </a:p>
        </p:txBody>
      </p:sp>
      <p:grpSp>
        <p:nvGrpSpPr>
          <p:cNvPr id="15" name="Group 2">
            <a:extLst>
              <a:ext uri="{FF2B5EF4-FFF2-40B4-BE49-F238E27FC236}">
                <a16:creationId xmlns:a16="http://schemas.microsoft.com/office/drawing/2014/main" id="{238FAB7E-E38F-4E04-AA07-A553E5EC0500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2349500" y="1057275"/>
            <a:ext cx="1566863" cy="1108075"/>
            <a:chOff x="2384425" y="1239838"/>
            <a:chExt cx="1143000" cy="898525"/>
          </a:xfrm>
        </p:grpSpPr>
        <p:sp>
          <p:nvSpPr>
            <p:cNvPr id="17" name="TextBox 11">
              <a:extLst>
                <a:ext uri="{FF2B5EF4-FFF2-40B4-BE49-F238E27FC236}">
                  <a16:creationId xmlns:a16="http://schemas.microsoft.com/office/drawing/2014/main" id="{F1A16182-C8A0-42B8-9931-C972244781EE}"/>
                </a:ext>
              </a:extLst>
            </p:cNvPr>
            <p:cNvSpPr txBox="1">
              <a:spLocks noChangeArrowheads="1"/>
            </p:cNvSpPr>
            <p:nvPr/>
          </p:nvSpPr>
          <p:spPr bwMode="white">
            <a:xfrm>
              <a:off x="2385583" y="1429069"/>
              <a:ext cx="1141842" cy="429953"/>
            </a:xfrm>
            <a:prstGeom prst="rect">
              <a:avLst/>
            </a:prstGeom>
            <a:noFill/>
            <a:ln>
              <a:noFill/>
            </a:ln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nl-NL" altLang="nl-NL" sz="1100" b="1" dirty="0">
                  <a:solidFill>
                    <a:schemeClr val="bg1"/>
                  </a:solidFill>
                </a:rPr>
                <a:t>Base Location:</a:t>
              </a:r>
            </a:p>
          </p:txBody>
        </p:sp>
        <p:sp>
          <p:nvSpPr>
            <p:cNvPr id="18" name="TextBox 12">
              <a:extLst>
                <a:ext uri="{FF2B5EF4-FFF2-40B4-BE49-F238E27FC236}">
                  <a16:creationId xmlns:a16="http://schemas.microsoft.com/office/drawing/2014/main" id="{7CFAE8E2-AB5D-4CF9-8115-B93DB764BCD5}"/>
                </a:ext>
              </a:extLst>
            </p:cNvPr>
            <p:cNvSpPr txBox="1">
              <a:spLocks noChangeArrowheads="1"/>
            </p:cNvSpPr>
            <p:nvPr/>
          </p:nvSpPr>
          <p:spPr bwMode="white">
            <a:xfrm>
              <a:off x="2385583" y="1628598"/>
              <a:ext cx="1141842" cy="212402"/>
            </a:xfrm>
            <a:prstGeom prst="rect">
              <a:avLst/>
            </a:prstGeom>
            <a:noFill/>
            <a:ln>
              <a:noFill/>
            </a:ln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nl-NL" altLang="nl-NL" sz="1100" b="1" dirty="0">
                  <a:solidFill>
                    <a:schemeClr val="bg1"/>
                  </a:solidFill>
                </a:rPr>
                <a:t>Email ID:</a:t>
              </a:r>
            </a:p>
          </p:txBody>
        </p:sp>
        <p:sp>
          <p:nvSpPr>
            <p:cNvPr id="19" name="TextBox 13">
              <a:extLst>
                <a:ext uri="{FF2B5EF4-FFF2-40B4-BE49-F238E27FC236}">
                  <a16:creationId xmlns:a16="http://schemas.microsoft.com/office/drawing/2014/main" id="{6279758B-4941-4EC1-BBBA-6F16A5431D5E}"/>
                </a:ext>
              </a:extLst>
            </p:cNvPr>
            <p:cNvSpPr txBox="1">
              <a:spLocks noChangeArrowheads="1"/>
            </p:cNvSpPr>
            <p:nvPr/>
          </p:nvSpPr>
          <p:spPr bwMode="white">
            <a:xfrm>
              <a:off x="2385583" y="1820404"/>
              <a:ext cx="1141842" cy="212402"/>
            </a:xfrm>
            <a:prstGeom prst="rect">
              <a:avLst/>
            </a:prstGeom>
            <a:noFill/>
            <a:ln>
              <a:noFill/>
            </a:ln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nl-NL" altLang="nl-NL" sz="1100" b="1" dirty="0">
                  <a:solidFill>
                    <a:schemeClr val="bg1"/>
                  </a:solidFill>
                </a:rPr>
                <a:t>Mobile No:</a:t>
              </a: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0FF096E5-D044-4527-937A-B258AF65D442}"/>
                </a:ext>
              </a:extLst>
            </p:cNvPr>
            <p:cNvSpPr/>
            <p:nvPr/>
          </p:nvSpPr>
          <p:spPr bwMode="white">
            <a:xfrm>
              <a:off x="2384425" y="1239838"/>
              <a:ext cx="1104784" cy="89852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nl-NL"/>
            </a:p>
          </p:txBody>
        </p:sp>
      </p:grpSp>
      <p:sp>
        <p:nvSpPr>
          <p:cNvPr id="22" name="TextBox 13">
            <a:extLst>
              <a:ext uri="{FF2B5EF4-FFF2-40B4-BE49-F238E27FC236}">
                <a16:creationId xmlns:a16="http://schemas.microsoft.com/office/drawing/2014/main" id="{DD2D64F5-C5D9-4322-B3FC-BC21AF1343F5}"/>
              </a:ext>
            </a:extLst>
          </p:cNvPr>
          <p:cNvSpPr txBox="1">
            <a:spLocks noChangeArrowheads="1"/>
          </p:cNvSpPr>
          <p:nvPr userDrawn="1"/>
        </p:nvSpPr>
        <p:spPr bwMode="white">
          <a:xfrm>
            <a:off x="2357438" y="1990725"/>
            <a:ext cx="1563687" cy="260350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defRPr/>
            </a:pPr>
            <a:r>
              <a:rPr lang="nl-NL" altLang="nl-NL" sz="1100" b="1" dirty="0">
                <a:solidFill>
                  <a:schemeClr val="bg1"/>
                </a:solidFill>
              </a:rPr>
              <a:t>Grade:</a:t>
            </a:r>
          </a:p>
        </p:txBody>
      </p:sp>
      <p:pic>
        <p:nvPicPr>
          <p:cNvPr id="24" name="Picture 8" descr="Strengths">
            <a:extLst>
              <a:ext uri="{FF2B5EF4-FFF2-40B4-BE49-F238E27FC236}">
                <a16:creationId xmlns:a16="http://schemas.microsoft.com/office/drawing/2014/main" id="{19E068FC-C38C-4D71-9A54-1BAA4BDE3EA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788" y="2382838"/>
            <a:ext cx="611187" cy="612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7" name="Picture 12" descr="Achievement, trophy icon">
            <a:extLst>
              <a:ext uri="{FF2B5EF4-FFF2-40B4-BE49-F238E27FC236}">
                <a16:creationId xmlns:a16="http://schemas.microsoft.com/office/drawing/2014/main" id="{44891430-3EA5-4446-8A82-C16C5949E1A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40275" y="2509838"/>
            <a:ext cx="446088" cy="446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Text Placeholder 5"/>
          <p:cNvSpPr>
            <a:spLocks noGrp="1"/>
          </p:cNvSpPr>
          <p:nvPr>
            <p:ph type="body" sz="quarter" idx="36"/>
          </p:nvPr>
        </p:nvSpPr>
        <p:spPr>
          <a:xfrm>
            <a:off x="4836699" y="2995865"/>
            <a:ext cx="4009644" cy="3621503"/>
          </a:xfrm>
        </p:spPr>
        <p:txBody>
          <a:bodyPr>
            <a:noAutofit/>
          </a:bodyPr>
          <a:lstStyle>
            <a:lvl1pPr>
              <a:lnSpc>
                <a:spcPct val="150000"/>
              </a:lnSpc>
              <a:defRPr sz="1000" i="0" u="none" baseline="0"/>
            </a:lvl1pPr>
            <a:lvl2pPr>
              <a:lnSpc>
                <a:spcPct val="114000"/>
              </a:lnSpc>
              <a:defRPr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3" name="Text Placeholder 5"/>
          <p:cNvSpPr>
            <a:spLocks noGrp="1"/>
          </p:cNvSpPr>
          <p:nvPr>
            <p:ph type="body" sz="quarter" idx="41"/>
          </p:nvPr>
        </p:nvSpPr>
        <p:spPr bwMode="white">
          <a:xfrm>
            <a:off x="2468282" y="290679"/>
            <a:ext cx="6223654" cy="306703"/>
          </a:xfrm>
        </p:spPr>
        <p:txBody>
          <a:bodyPr>
            <a:noAutofit/>
          </a:bodyPr>
          <a:lstStyle>
            <a:lvl1pPr>
              <a:defRPr sz="21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5"/>
          <p:cNvSpPr>
            <a:spLocks noGrp="1"/>
          </p:cNvSpPr>
          <p:nvPr>
            <p:ph type="body" sz="quarter" idx="42"/>
          </p:nvPr>
        </p:nvSpPr>
        <p:spPr bwMode="white">
          <a:xfrm>
            <a:off x="2468279" y="665942"/>
            <a:ext cx="6056596" cy="32120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6" name="Text Placeholder 5"/>
          <p:cNvSpPr>
            <a:spLocks noGrp="1"/>
          </p:cNvSpPr>
          <p:nvPr>
            <p:ph type="body" sz="quarter" idx="43"/>
          </p:nvPr>
        </p:nvSpPr>
        <p:spPr bwMode="white">
          <a:xfrm>
            <a:off x="3696643" y="1280458"/>
            <a:ext cx="2373312" cy="295449"/>
          </a:xfrm>
        </p:spPr>
        <p:txBody>
          <a:bodyPr>
            <a:noAutofit/>
          </a:bodyPr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5" name="Picture Placeholder 44"/>
          <p:cNvSpPr>
            <a:spLocks noGrp="1"/>
          </p:cNvSpPr>
          <p:nvPr>
            <p:ph type="pic" sz="quarter" idx="46"/>
          </p:nvPr>
        </p:nvSpPr>
        <p:spPr bwMode="ltGray">
          <a:xfrm>
            <a:off x="383259" y="287492"/>
            <a:ext cx="1734208" cy="1735628"/>
          </a:xfrm>
          <a:prstGeom prst="ellipse">
            <a:avLst/>
          </a:prstGeom>
          <a:solidFill>
            <a:schemeClr val="bg1"/>
          </a:solidFill>
        </p:spPr>
        <p:txBody>
          <a:bodyPr rtlCol="0">
            <a:normAutofit/>
          </a:bodyPr>
          <a:lstStyle>
            <a:lvl1pPr>
              <a:lnSpc>
                <a:spcPct val="114000"/>
              </a:lnSpc>
              <a:defRPr sz="1000" baseline="0"/>
            </a:lvl1pPr>
          </a:lstStyle>
          <a:p>
            <a:pPr lvl="0"/>
            <a:r>
              <a:rPr lang="en-US" noProof="0" dirty="0"/>
              <a:t>Click icon to add picture</a:t>
            </a:r>
            <a:endParaRPr lang="nl-NL" noProof="0" dirty="0"/>
          </a:p>
        </p:txBody>
      </p:sp>
      <p:sp>
        <p:nvSpPr>
          <p:cNvPr id="46" name="Text Placeholder 5"/>
          <p:cNvSpPr>
            <a:spLocks noGrp="1"/>
          </p:cNvSpPr>
          <p:nvPr>
            <p:ph type="body" sz="quarter" idx="47"/>
          </p:nvPr>
        </p:nvSpPr>
        <p:spPr bwMode="white">
          <a:xfrm>
            <a:off x="3696026" y="1501534"/>
            <a:ext cx="2373312" cy="325397"/>
          </a:xfrm>
        </p:spPr>
        <p:txBody>
          <a:bodyPr>
            <a:noAutofit/>
          </a:bodyPr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7" name="Text Placeholder 5"/>
          <p:cNvSpPr>
            <a:spLocks noGrp="1"/>
          </p:cNvSpPr>
          <p:nvPr>
            <p:ph type="body" sz="quarter" idx="48"/>
          </p:nvPr>
        </p:nvSpPr>
        <p:spPr bwMode="white">
          <a:xfrm>
            <a:off x="3685536" y="1711595"/>
            <a:ext cx="2373312" cy="330250"/>
          </a:xfrm>
        </p:spPr>
        <p:txBody>
          <a:bodyPr>
            <a:noAutofit/>
          </a:bodyPr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4" name="Text Placeholder 5"/>
          <p:cNvSpPr>
            <a:spLocks noGrp="1"/>
          </p:cNvSpPr>
          <p:nvPr>
            <p:ph type="body" sz="quarter" idx="50"/>
          </p:nvPr>
        </p:nvSpPr>
        <p:spPr>
          <a:xfrm>
            <a:off x="383259" y="2995866"/>
            <a:ext cx="4056394" cy="3621502"/>
          </a:xfrm>
        </p:spPr>
        <p:txBody>
          <a:bodyPr>
            <a:noAutofit/>
          </a:bodyPr>
          <a:lstStyle>
            <a:lvl1pPr>
              <a:lnSpc>
                <a:spcPct val="114000"/>
              </a:lnSpc>
              <a:defRPr sz="1000" u="none" baseline="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Text Placeholder 5"/>
          <p:cNvSpPr>
            <a:spLocks noGrp="1"/>
          </p:cNvSpPr>
          <p:nvPr>
            <p:ph type="body" sz="quarter" idx="51"/>
          </p:nvPr>
        </p:nvSpPr>
        <p:spPr bwMode="white">
          <a:xfrm>
            <a:off x="3690158" y="1891703"/>
            <a:ext cx="2373312" cy="330250"/>
          </a:xfrm>
        </p:spPr>
        <p:txBody>
          <a:bodyPr>
            <a:noAutofit/>
          </a:bodyPr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5165877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9F9F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11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0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21" name="Object 2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oupe 1"/>
          <p:cNvGrpSpPr/>
          <p:nvPr userDrawn="1"/>
        </p:nvGrpSpPr>
        <p:grpSpPr>
          <a:xfrm>
            <a:off x="11501102" y="171573"/>
            <a:ext cx="419436" cy="388988"/>
            <a:chOff x="11501102" y="171573"/>
            <a:chExt cx="419436" cy="388988"/>
          </a:xfrm>
        </p:grpSpPr>
        <p:sp>
          <p:nvSpPr>
            <p:cNvPr id="4109" name="Freeform 13"/>
            <p:cNvSpPr>
              <a:spLocks/>
            </p:cNvSpPr>
            <p:nvPr userDrawn="1"/>
          </p:nvSpPr>
          <p:spPr bwMode="auto">
            <a:xfrm>
              <a:off x="11644642" y="334376"/>
              <a:ext cx="275896" cy="226185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8" y="43"/>
                </a:cxn>
                <a:cxn ang="0">
                  <a:pos x="141" y="0"/>
                </a:cxn>
                <a:cxn ang="0">
                  <a:pos x="49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6"/>
                </a:cxn>
                <a:cxn ang="0">
                  <a:pos x="125" y="107"/>
                </a:cxn>
              </a:cxnLst>
              <a:rect l="0" t="0" r="r" b="b"/>
              <a:pathLst>
                <a:path w="188" h="154">
                  <a:moveTo>
                    <a:pt x="125" y="107"/>
                  </a:moveTo>
                  <a:cubicBezTo>
                    <a:pt x="160" y="107"/>
                    <a:pt x="188" y="78"/>
                    <a:pt x="188" y="43"/>
                  </a:cubicBezTo>
                  <a:cubicBezTo>
                    <a:pt x="186" y="28"/>
                    <a:pt x="181" y="0"/>
                    <a:pt x="141" y="0"/>
                  </a:cubicBezTo>
                  <a:cubicBezTo>
                    <a:pt x="99" y="0"/>
                    <a:pt x="84" y="60"/>
                    <a:pt x="49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6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4110" name="Freeform 14"/>
            <p:cNvSpPr>
              <a:spLocks/>
            </p:cNvSpPr>
            <p:nvPr userDrawn="1"/>
          </p:nvSpPr>
          <p:spPr bwMode="auto">
            <a:xfrm>
              <a:off x="11501102" y="171573"/>
              <a:ext cx="419436" cy="356676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1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7" y="210"/>
                </a:cxn>
                <a:cxn ang="0">
                  <a:pos x="239" y="111"/>
                </a:cxn>
                <a:cxn ang="0">
                  <a:pos x="286" y="154"/>
                </a:cxn>
                <a:cxn ang="0">
                  <a:pos x="286" y="152"/>
                </a:cxn>
              </a:cxnLst>
              <a:rect l="0" t="0" r="r" b="b"/>
              <a:pathLst>
                <a:path w="286" h="243">
                  <a:moveTo>
                    <a:pt x="286" y="152"/>
                  </a:moveTo>
                  <a:cubicBezTo>
                    <a:pt x="286" y="112"/>
                    <a:pt x="266" y="78"/>
                    <a:pt x="237" y="51"/>
                  </a:cubicBezTo>
                  <a:cubicBezTo>
                    <a:pt x="215" y="30"/>
                    <a:pt x="188" y="15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4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6" y="222"/>
                    <a:pt x="147" y="210"/>
                  </a:cubicBezTo>
                  <a:cubicBezTo>
                    <a:pt x="182" y="171"/>
                    <a:pt x="197" y="111"/>
                    <a:pt x="239" y="111"/>
                  </a:cubicBezTo>
                  <a:cubicBezTo>
                    <a:pt x="279" y="111"/>
                    <a:pt x="284" y="139"/>
                    <a:pt x="286" y="154"/>
                  </a:cubicBezTo>
                  <a:cubicBezTo>
                    <a:pt x="286" y="154"/>
                    <a:pt x="286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sp>
        <p:nvSpPr>
          <p:cNvPr id="7" name="Retângulo 43">
            <a:extLst>
              <a:ext uri="{FF2B5EF4-FFF2-40B4-BE49-F238E27FC236}">
                <a16:creationId xmlns:a16="http://schemas.microsoft.com/office/drawing/2014/main" id="{25FC8637-25BD-4C09-AF25-56B4243DAB3D}"/>
              </a:ext>
            </a:extLst>
          </p:cNvPr>
          <p:cNvSpPr/>
          <p:nvPr userDrawn="1"/>
        </p:nvSpPr>
        <p:spPr>
          <a:xfrm>
            <a:off x="11751670" y="6650661"/>
            <a:ext cx="176330" cy="123111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schemeClr val="bg1">
                    <a:lumMod val="65000"/>
                  </a:schemeClr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800" dirty="0">
              <a:solidFill>
                <a:schemeClr val="bg1">
                  <a:lumMod val="65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E824319D-02CC-441E-87B5-E9D15DE8CA35}"/>
              </a:ext>
            </a:extLst>
          </p:cNvPr>
          <p:cNvSpPr txBox="1">
            <a:spLocks/>
          </p:cNvSpPr>
          <p:nvPr userDrawn="1"/>
        </p:nvSpPr>
        <p:spPr>
          <a:xfrm>
            <a:off x="9017223" y="6650661"/>
            <a:ext cx="2664297" cy="123111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© Capgemini 2017. All rights reserved  </a:t>
            </a:r>
            <a:r>
              <a:rPr lang="en-US" dirty="0">
                <a:solidFill>
                  <a:schemeClr val="accent2"/>
                </a:solidFill>
              </a:rPr>
              <a:t>|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E824319D-02CC-441E-87B5-E9D15DE8CA35}"/>
              </a:ext>
            </a:extLst>
          </p:cNvPr>
          <p:cNvSpPr txBox="1">
            <a:spLocks/>
          </p:cNvSpPr>
          <p:nvPr userDrawn="1"/>
        </p:nvSpPr>
        <p:spPr>
          <a:xfrm>
            <a:off x="227348" y="6650661"/>
            <a:ext cx="4716524" cy="123111"/>
          </a:xfrm>
          <a:prstGeom prst="rect">
            <a:avLst/>
          </a:prstGeom>
        </p:spPr>
        <p:txBody>
          <a:bodyPr wrap="none"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Presentation Title | Author | Date</a:t>
            </a:r>
          </a:p>
        </p:txBody>
      </p:sp>
      <p:sp>
        <p:nvSpPr>
          <p:cNvPr id="4" name="Espace réservé du texte 3"/>
          <p:cNvSpPr>
            <a:spLocks noGrp="1"/>
          </p:cNvSpPr>
          <p:nvPr userDrawn="1">
            <p:ph type="body" idx="1"/>
          </p:nvPr>
        </p:nvSpPr>
        <p:spPr>
          <a:xfrm>
            <a:off x="227348" y="1815352"/>
            <a:ext cx="11700000" cy="446620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  <p:sp>
        <p:nvSpPr>
          <p:cNvPr id="9" name="Espace réservé du titre 8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dirty="0"/>
              <a:t>Click to insert </a:t>
            </a:r>
            <a:r>
              <a:rPr lang="fr-FR" dirty="0" err="1"/>
              <a:t>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627786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8" r:id="rId1"/>
    <p:sldLayoutId id="2147483827" r:id="rId2"/>
    <p:sldLayoutId id="2147483831" r:id="rId3"/>
    <p:sldLayoutId id="2147483833" r:id="rId4"/>
    <p:sldLayoutId id="2147483837" r:id="rId5"/>
    <p:sldLayoutId id="2147483821" r:id="rId6"/>
    <p:sldLayoutId id="2147483834" r:id="rId7"/>
    <p:sldLayoutId id="2147483895" r:id="rId8"/>
  </p:sldLayoutIdLst>
  <p:txStyles>
    <p:titleStyle>
      <a:lvl1pPr marL="0" marR="0" indent="0" algn="l" defTabSz="914400" rtl="0" eaLnBrk="1" fontAlgn="auto" latinLnBrk="0" hangingPunct="1">
        <a:lnSpc>
          <a:spcPct val="90000"/>
        </a:lnSpc>
        <a:spcBef>
          <a:spcPct val="0"/>
        </a:spcBef>
        <a:spcAft>
          <a:spcPts val="0"/>
        </a:spcAft>
        <a:buClrTx/>
        <a:buSzTx/>
        <a:buFontTx/>
        <a:buNone/>
        <a:tabLst/>
        <a:defRPr kumimoji="0" lang="en-US" sz="3000" b="0" i="0" u="none" strike="noStrike" kern="1200" cap="none" spc="0" normalizeH="0" baseline="0" noProof="0" dirty="0">
          <a:ln>
            <a:noFill/>
          </a:ln>
          <a:solidFill>
            <a:schemeClr val="accent1"/>
          </a:solidFill>
          <a:effectLst/>
          <a:uLnTx/>
          <a:uFillTx/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000" kern="1200">
          <a:solidFill>
            <a:schemeClr val="tx1"/>
          </a:solidFill>
          <a:latin typeface="+mj-lt"/>
          <a:ea typeface="+mn-ea"/>
          <a:cs typeface="+mn-cs"/>
        </a:defRPr>
      </a:lvl1pPr>
      <a:lvl2pPr marL="2667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j-lt"/>
          <a:ea typeface="+mn-ea"/>
          <a:cs typeface="+mn-cs"/>
        </a:defRPr>
      </a:lvl2pPr>
      <a:lvl3pPr marL="4445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j-lt"/>
          <a:ea typeface="+mn-ea"/>
          <a:cs typeface="+mn-cs"/>
        </a:defRPr>
      </a:lvl3pPr>
      <a:lvl4pPr marL="6223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3"/>
        </a:buClr>
        <a:buFont typeface="Verdana" panose="020B0604030504040204" pitchFamily="34" charset="0"/>
        <a:buChar char="‒"/>
        <a:defRPr sz="1400" kern="1200">
          <a:solidFill>
            <a:schemeClr val="tx1"/>
          </a:solidFill>
          <a:latin typeface="+mj-lt"/>
          <a:ea typeface="+mn-ea"/>
          <a:cs typeface="+mn-cs"/>
        </a:defRPr>
      </a:lvl4pPr>
      <a:lvl5pPr marL="812800" indent="-190500" algn="l" defTabSz="914400" rtl="0" eaLnBrk="1" latinLnBrk="0" hangingPunct="1">
        <a:lnSpc>
          <a:spcPct val="90000"/>
        </a:lnSpc>
        <a:spcBef>
          <a:spcPts val="500"/>
        </a:spcBef>
        <a:buClr>
          <a:schemeClr val="accent5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09">
          <p15:clr>
            <a:srgbClr val="F26B43"/>
          </p15:clr>
        </p15:guide>
        <p15:guide id="2" pos="7506">
          <p15:clr>
            <a:srgbClr val="F26B43"/>
          </p15:clr>
        </p15:guide>
        <p15:guide id="3" orient="horz" pos="4088">
          <p15:clr>
            <a:srgbClr val="F26B43"/>
          </p15:clr>
        </p15:guide>
        <p15:guide id="4" pos="143">
          <p15:clr>
            <a:srgbClr val="F26B43"/>
          </p15:clr>
        </p15:guide>
        <p15:guide id="5" orient="horz" pos="1139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chapalalakshmi5/" TargetMode="External"/><Relationship Id="rId7" Type="http://schemas.openxmlformats.org/officeDocument/2006/relationships/image" Target="../media/image9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8.png"/><Relationship Id="rId5" Type="http://schemas.openxmlformats.org/officeDocument/2006/relationships/hyperlink" Target="https://github.com/chapalalakshmi5/Deals-and-coupons-casestudy-Video.git" TargetMode="External"/><Relationship Id="rId4" Type="http://schemas.openxmlformats.org/officeDocument/2006/relationships/image" Target="../media/image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Text Placeholder 18">
            <a:extLst>
              <a:ext uri="{FF2B5EF4-FFF2-40B4-BE49-F238E27FC236}">
                <a16:creationId xmlns:a16="http://schemas.microsoft.com/office/drawing/2014/main" id="{4EF0A5D5-CB77-4BCF-86BB-EC8AFA4AA0E3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4837113" y="2995613"/>
            <a:ext cx="3897195" cy="3720344"/>
          </a:xfrm>
        </p:spPr>
        <p:txBody>
          <a:bodyPr>
            <a:noAutofit/>
          </a:bodyPr>
          <a:lstStyle/>
          <a:p>
            <a:pPr algn="just" eaLnBrk="1" hangingPunct="1">
              <a:lnSpc>
                <a:spcPct val="114000"/>
              </a:lnSpc>
            </a:pPr>
            <a:r>
              <a:rPr lang="en-US" altLang="en-US" sz="1050" b="1" dirty="0">
                <a:latin typeface="Arial" panose="020B0604020202020204" pitchFamily="34" charset="0"/>
                <a:cs typeface="Arial" panose="020B0604020202020204" pitchFamily="34" charset="0"/>
              </a:rPr>
              <a:t>1. Deals and Coupons Finder App Web Application</a:t>
            </a:r>
          </a:p>
          <a:p>
            <a:pPr algn="just" eaLnBrk="1" hangingPunct="1">
              <a:lnSpc>
                <a:spcPct val="114000"/>
              </a:lnSpc>
            </a:pPr>
            <a:r>
              <a:rPr lang="en-IN" altLang="en-US" sz="1050" dirty="0">
                <a:latin typeface="Arial" panose="020B0604020202020204" pitchFamily="34" charset="0"/>
                <a:cs typeface="Arial" panose="020B0604020202020204" pitchFamily="34" charset="0"/>
              </a:rPr>
              <a:t>Completed end to end case study of Deals and Coupons Finder App along with JWT authentication, Swagger and payment testing using Spring Boot and MERN Stack.</a:t>
            </a:r>
            <a:r>
              <a:rPr lang="en-US" altLang="en-US" sz="1050" dirty="0">
                <a:latin typeface="Arial" panose="020B0604020202020204" pitchFamily="34" charset="0"/>
                <a:cs typeface="Arial" panose="020B0604020202020204" pitchFamily="34" charset="0"/>
              </a:rPr>
              <a:t> Material-UI and Bootstrap used for user interface.</a:t>
            </a:r>
            <a:endParaRPr lang="en-US" altLang="en-US" sz="105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 eaLnBrk="1" hangingPunct="1">
              <a:lnSpc>
                <a:spcPct val="114000"/>
              </a:lnSpc>
            </a:pPr>
            <a:r>
              <a:rPr lang="en-IN" altLang="nl-NL" sz="1050" b="1" dirty="0">
                <a:latin typeface="Arial" panose="020B0604020202020204" pitchFamily="34" charset="0"/>
                <a:cs typeface="Arial" panose="020B0604020202020204" pitchFamily="34" charset="0"/>
              </a:rPr>
              <a:t>2. Backend (MongoDB), Midware (Spring Boot) and Frontend (Angular) at Capgemini Degreed Platform</a:t>
            </a:r>
          </a:p>
          <a:p>
            <a:pPr algn="just" eaLnBrk="1" hangingPunct="1">
              <a:lnSpc>
                <a:spcPct val="114000"/>
              </a:lnSpc>
            </a:pPr>
            <a:r>
              <a:rPr lang="en-IN" altLang="en-US" sz="1050" dirty="0">
                <a:latin typeface="Arial" panose="020B0604020202020204" pitchFamily="34" charset="0"/>
                <a:cs typeface="Arial" panose="020B0604020202020204" pitchFamily="34" charset="0"/>
              </a:rPr>
              <a:t>Learned and recompiled all concepts of the backend, midware and frontend to polish my skills to work on real –time projects. </a:t>
            </a:r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r>
              <a:rPr lang="en-US" altLang="nl-NL" dirty="0">
                <a:solidFill>
                  <a:srgbClr val="0000FF"/>
                </a:solidFill>
              </a:rPr>
              <a:t> </a:t>
            </a:r>
            <a:endParaRPr lang="en-IN" altLang="en-US" dirty="0"/>
          </a:p>
          <a:p>
            <a:pPr eaLnBrk="1" hangingPunct="1">
              <a:lnSpc>
                <a:spcPct val="114000"/>
              </a:lnSpc>
            </a:pPr>
            <a:r>
              <a:rPr lang="en-US" altLang="nl-NL" dirty="0">
                <a:solidFill>
                  <a:srgbClr val="0000FF"/>
                </a:solidFill>
              </a:rPr>
              <a:t> </a:t>
            </a:r>
            <a:br>
              <a:rPr lang="en-US" altLang="nl-NL" dirty="0"/>
            </a:br>
            <a:br>
              <a:rPr lang="en-US" altLang="nl-NL" dirty="0"/>
            </a:br>
            <a:endParaRPr lang="nl-NL" altLang="nl-NL" dirty="0"/>
          </a:p>
        </p:txBody>
      </p:sp>
      <p:sp>
        <p:nvSpPr>
          <p:cNvPr id="7171" name="Text Placeholder 21">
            <a:extLst>
              <a:ext uri="{FF2B5EF4-FFF2-40B4-BE49-F238E27FC236}">
                <a16:creationId xmlns:a16="http://schemas.microsoft.com/office/drawing/2014/main" id="{FF4CCF3B-4887-442F-A757-E5908FA1808D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2468563" y="665163"/>
            <a:ext cx="6056312" cy="322262"/>
          </a:xfrm>
        </p:spPr>
        <p:txBody>
          <a:bodyPr/>
          <a:lstStyle/>
          <a:p>
            <a:pPr fontAlgn="base">
              <a:spcBef>
                <a:spcPct val="0"/>
              </a:spcBef>
            </a:pPr>
            <a:r>
              <a:rPr lang="nl-NL" altLang="nl-NL"/>
              <a:t>Analyst/Software Engineer</a:t>
            </a:r>
          </a:p>
        </p:txBody>
      </p:sp>
      <p:sp>
        <p:nvSpPr>
          <p:cNvPr id="7172" name="Text Placeholder 22">
            <a:extLst>
              <a:ext uri="{FF2B5EF4-FFF2-40B4-BE49-F238E27FC236}">
                <a16:creationId xmlns:a16="http://schemas.microsoft.com/office/drawing/2014/main" id="{994FC039-D8C9-4401-93CE-88467263C848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3653706" y="1363663"/>
            <a:ext cx="2374900" cy="295275"/>
          </a:xfrm>
        </p:spPr>
        <p:txBody>
          <a:bodyPr/>
          <a:lstStyle/>
          <a:p>
            <a:pPr eaLnBrk="1" hangingPunct="1"/>
            <a:r>
              <a:rPr lang="nl-NL" altLang="nl-NL" dirty="0"/>
              <a:t>Bangalore</a:t>
            </a:r>
          </a:p>
          <a:p>
            <a:pPr eaLnBrk="1" hangingPunct="1"/>
            <a:endParaRPr lang="nl-NL" altLang="nl-NL" dirty="0"/>
          </a:p>
        </p:txBody>
      </p:sp>
      <p:sp>
        <p:nvSpPr>
          <p:cNvPr id="7173" name="Text Placeholder 24">
            <a:extLst>
              <a:ext uri="{FF2B5EF4-FFF2-40B4-BE49-F238E27FC236}">
                <a16:creationId xmlns:a16="http://schemas.microsoft.com/office/drawing/2014/main" id="{0DF2099D-8FC2-44CE-AB60-E2C2257CB05D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3266956" y="1605434"/>
            <a:ext cx="2606551" cy="269876"/>
          </a:xfrm>
        </p:spPr>
        <p:txBody>
          <a:bodyPr/>
          <a:lstStyle/>
          <a:p>
            <a:pPr eaLnBrk="1" hangingPunct="1"/>
            <a:r>
              <a:rPr lang="nl-NL" altLang="nl-NL" dirty="0"/>
              <a:t>Lakshmi.chapala@capgemini.com</a:t>
            </a:r>
          </a:p>
        </p:txBody>
      </p:sp>
      <p:sp>
        <p:nvSpPr>
          <p:cNvPr id="7174" name="Text Placeholder 25">
            <a:extLst>
              <a:ext uri="{FF2B5EF4-FFF2-40B4-BE49-F238E27FC236}">
                <a16:creationId xmlns:a16="http://schemas.microsoft.com/office/drawing/2014/main" id="{8B11FF61-9AA9-42E0-800D-B94AC06E095E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3315222" y="1847851"/>
            <a:ext cx="2382837" cy="330200"/>
          </a:xfrm>
        </p:spPr>
        <p:txBody>
          <a:bodyPr/>
          <a:lstStyle/>
          <a:p>
            <a:pPr eaLnBrk="1" hangingPunct="1"/>
            <a:r>
              <a:rPr lang="nl-NL" altLang="nl-NL" dirty="0"/>
              <a:t>+91 8008788483</a:t>
            </a:r>
          </a:p>
        </p:txBody>
      </p:sp>
      <p:sp>
        <p:nvSpPr>
          <p:cNvPr id="7175" name="Text Placeholder 26">
            <a:extLst>
              <a:ext uri="{FF2B5EF4-FFF2-40B4-BE49-F238E27FC236}">
                <a16:creationId xmlns:a16="http://schemas.microsoft.com/office/drawing/2014/main" id="{BADEA8C0-D1A3-4608-9E63-683339DCC944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>
          <a:xfrm>
            <a:off x="335360" y="3094870"/>
            <a:ext cx="3869932" cy="3621087"/>
          </a:xfrm>
        </p:spPr>
        <p:txBody>
          <a:bodyPr/>
          <a:lstStyle/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en-US" altLang="en-US" sz="1200" dirty="0">
                <a:latin typeface="Arial" panose="020B0604020202020204" pitchFamily="34" charset="0"/>
                <a:cs typeface="Arial" panose="020B0604020202020204" pitchFamily="34" charset="0"/>
              </a:rPr>
              <a:t>Software Engineer who is Strong in design and integration with intuitive problem-solving skills. Passionate about implementing and launching new projects.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en-US" altLang="en-US" sz="1200" dirty="0">
                <a:latin typeface="Arial" panose="020B0604020202020204" pitchFamily="34" charset="0"/>
                <a:cs typeface="Arial" panose="020B0604020202020204" pitchFamily="34" charset="0"/>
              </a:rPr>
              <a:t>Ready to learn new technologies and implement them to further improve my knowledge. 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en-US" altLang="en-US" sz="1200" dirty="0">
                <a:latin typeface="Arial" panose="020B0604020202020204" pitchFamily="34" charset="0"/>
                <a:cs typeface="Arial" panose="020B0604020202020204" pitchFamily="34" charset="0"/>
              </a:rPr>
              <a:t>Eager to work in a team of dedicated people and serve a key role in the enhancement and development of the project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altLang="en-US" sz="1200" dirty="0">
                <a:latin typeface="Arial" panose="020B0604020202020204" pitchFamily="34" charset="0"/>
                <a:cs typeface="Arial" panose="020B0604020202020204" pitchFamily="34" charset="0"/>
              </a:rPr>
              <a:t>Has working knowledge on ReactJS(Hooks, redux)and Java Microservice Development using Spring framework on an intermediate level.</a:t>
            </a:r>
            <a:br>
              <a:rPr lang="en-US" altLang="nl-NL" sz="1050" dirty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US" altLang="nl-NL" sz="105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176" name="TextBox 20">
            <a:extLst>
              <a:ext uri="{FF2B5EF4-FFF2-40B4-BE49-F238E27FC236}">
                <a16:creationId xmlns:a16="http://schemas.microsoft.com/office/drawing/2014/main" id="{943087BE-AA11-4C96-BA02-329B45C19DD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301881" y="568324"/>
            <a:ext cx="2890120" cy="66050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lnSpc>
                <a:spcPct val="114000"/>
              </a:lnSpc>
            </a:pPr>
            <a:r>
              <a:rPr lang="en-US" altLang="nl-NL" sz="1020" dirty="0">
                <a:latin typeface="Arial" panose="020B0604020202020204" pitchFamily="34" charset="0"/>
                <a:cs typeface="Arial" panose="020B0604020202020204" pitchFamily="34" charset="0"/>
              </a:rPr>
              <a:t>Bachelor of Technology Computer Science : 2017 - 2020</a:t>
            </a:r>
          </a:p>
          <a:p>
            <a:pPr eaLnBrk="1" hangingPunct="1">
              <a:lnSpc>
                <a:spcPct val="114000"/>
              </a:lnSpc>
            </a:pPr>
            <a:br>
              <a:rPr lang="en-US" altLang="nl-NL" sz="1020" b="1" dirty="0">
                <a:solidFill>
                  <a:srgbClr val="0070AD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altLang="nl-NL" sz="1020" b="1" dirty="0">
                <a:solidFill>
                  <a:srgbClr val="0070A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kills</a:t>
            </a:r>
            <a:br>
              <a:rPr lang="en-US" altLang="nl-NL" sz="1020" b="1" dirty="0">
                <a:solidFill>
                  <a:srgbClr val="0070AD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altLang="en-US" sz="1020" dirty="0">
                <a:latin typeface="Arial" panose="020B0604020202020204" pitchFamily="34" charset="0"/>
                <a:cs typeface="Arial" panose="020B0604020202020204" pitchFamily="34" charset="0"/>
              </a:rPr>
              <a:t>Java 11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en-US" sz="1020" dirty="0">
                <a:latin typeface="Arial" panose="020B0604020202020204" pitchFamily="34" charset="0"/>
                <a:cs typeface="Arial" panose="020B0604020202020204" pitchFamily="34" charset="0"/>
              </a:rPr>
              <a:t>Spring Boot, MVC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en-US" sz="1020" dirty="0">
                <a:latin typeface="Arial" panose="020B0604020202020204" pitchFamily="34" charset="0"/>
                <a:cs typeface="Arial" panose="020B0604020202020204" pitchFamily="34" charset="0"/>
              </a:rPr>
              <a:t>Spring Security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en-US" sz="1020" dirty="0">
                <a:latin typeface="Arial" panose="020B0604020202020204" pitchFamily="34" charset="0"/>
                <a:cs typeface="Arial" panose="020B0604020202020204" pitchFamily="34" charset="0"/>
              </a:rPr>
              <a:t>JPA CRUD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en-US" sz="1020" dirty="0">
                <a:latin typeface="Arial" panose="020B0604020202020204" pitchFamily="34" charset="0"/>
                <a:cs typeface="Arial" panose="020B0604020202020204" pitchFamily="34" charset="0"/>
              </a:rPr>
              <a:t>Bootstrap</a:t>
            </a:r>
          </a:p>
          <a:p>
            <a:pPr eaLnBrk="1" hangingPunct="1">
              <a:lnSpc>
                <a:spcPct val="114000"/>
              </a:lnSpc>
            </a:pPr>
            <a:endParaRPr lang="en-US" altLang="en-US" sz="102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lnSpc>
                <a:spcPct val="114000"/>
              </a:lnSpc>
            </a:pPr>
            <a:r>
              <a:rPr lang="en-US" altLang="nl-NL" sz="1020" b="1" dirty="0">
                <a:solidFill>
                  <a:srgbClr val="0070A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RN Stack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20" dirty="0">
                <a:latin typeface="Arial" panose="020B0604020202020204" pitchFamily="34" charset="0"/>
                <a:cs typeface="Arial" panose="020B0604020202020204" pitchFamily="34" charset="0"/>
              </a:rPr>
              <a:t>Angular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20" dirty="0">
                <a:latin typeface="Arial" panose="020B0604020202020204" pitchFamily="34" charset="0"/>
                <a:cs typeface="Arial" panose="020B0604020202020204" pitchFamily="34" charset="0"/>
              </a:rPr>
              <a:t>NodeJS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20" dirty="0">
                <a:latin typeface="Arial" panose="020B0604020202020204" pitchFamily="34" charset="0"/>
                <a:cs typeface="Arial" panose="020B0604020202020204" pitchFamily="34" charset="0"/>
              </a:rPr>
              <a:t>MongoDB</a:t>
            </a:r>
          </a:p>
          <a:p>
            <a:pPr eaLnBrk="1" hangingPunct="1">
              <a:lnSpc>
                <a:spcPct val="114000"/>
              </a:lnSpc>
            </a:pPr>
            <a:endParaRPr lang="en-US" altLang="nl-NL" sz="102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lnSpc>
                <a:spcPct val="114000"/>
              </a:lnSpc>
            </a:pPr>
            <a:r>
              <a:rPr lang="en-US" altLang="nl-NL" sz="1020" b="1" dirty="0">
                <a:solidFill>
                  <a:srgbClr val="0070A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base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20" dirty="0">
                <a:latin typeface="Arial" panose="020B0604020202020204" pitchFamily="34" charset="0"/>
                <a:cs typeface="Arial" panose="020B0604020202020204" pitchFamily="34" charset="0"/>
              </a:rPr>
              <a:t>SQL database – MySQL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20" dirty="0">
                <a:latin typeface="Arial" panose="020B0604020202020204" pitchFamily="34" charset="0"/>
                <a:cs typeface="Arial" panose="020B0604020202020204" pitchFamily="34" charset="0"/>
              </a:rPr>
              <a:t>No SQL database – MongoDB</a:t>
            </a:r>
          </a:p>
          <a:p>
            <a:pPr eaLnBrk="1" hangingPunct="1">
              <a:lnSpc>
                <a:spcPct val="114000"/>
              </a:lnSpc>
            </a:pPr>
            <a:endParaRPr lang="en-US" altLang="nl-NL" sz="102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lnSpc>
                <a:spcPct val="114000"/>
              </a:lnSpc>
            </a:pPr>
            <a:r>
              <a:rPr lang="en-US" altLang="nl-NL" sz="1020" b="1" dirty="0">
                <a:solidFill>
                  <a:srgbClr val="0070A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b Technologies</a:t>
            </a:r>
            <a:endParaRPr lang="en-US" altLang="nl-NL" sz="102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lnSpc>
                <a:spcPct val="114000"/>
              </a:lnSpc>
            </a:pPr>
            <a:r>
              <a:rPr lang="en-US" altLang="nl-NL" sz="1020" dirty="0">
                <a:latin typeface="Arial" panose="020B0604020202020204" pitchFamily="34" charset="0"/>
                <a:cs typeface="Arial" panose="020B0604020202020204" pitchFamily="34" charset="0"/>
              </a:rPr>
              <a:t>HTML5 &amp; CSS3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20" dirty="0">
                <a:latin typeface="Arial" panose="020B0604020202020204" pitchFamily="34" charset="0"/>
                <a:cs typeface="Arial" panose="020B0604020202020204" pitchFamily="34" charset="0"/>
              </a:rPr>
              <a:t>Javascript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20" dirty="0">
                <a:latin typeface="Arial" panose="020B0604020202020204" pitchFamily="34" charset="0"/>
                <a:cs typeface="Arial" panose="020B0604020202020204" pitchFamily="34" charset="0"/>
              </a:rPr>
              <a:t>Typescript</a:t>
            </a:r>
          </a:p>
          <a:p>
            <a:pPr eaLnBrk="1" hangingPunct="1">
              <a:lnSpc>
                <a:spcPct val="114000"/>
              </a:lnSpc>
            </a:pPr>
            <a:endParaRPr lang="en-US" altLang="nl-NL" sz="1020" b="1" dirty="0">
              <a:solidFill>
                <a:srgbClr val="0070A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lnSpc>
                <a:spcPct val="114000"/>
              </a:lnSpc>
            </a:pPr>
            <a:r>
              <a:rPr lang="en-US" altLang="nl-NL" sz="1020" b="1" dirty="0">
                <a:solidFill>
                  <a:srgbClr val="0070A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ddOns</a:t>
            </a:r>
            <a:endParaRPr lang="en-US" altLang="nl-NL" sz="102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lnSpc>
                <a:spcPct val="114000"/>
              </a:lnSpc>
            </a:pPr>
            <a:r>
              <a:rPr lang="en-US" altLang="nl-NL" sz="1020" dirty="0">
                <a:latin typeface="Arial" panose="020B0604020202020204" pitchFamily="34" charset="0"/>
                <a:cs typeface="Arial" panose="020B0604020202020204" pitchFamily="34" charset="0"/>
              </a:rPr>
              <a:t>Github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20" dirty="0">
                <a:latin typeface="Arial" panose="020B0604020202020204" pitchFamily="34" charset="0"/>
                <a:cs typeface="Arial" panose="020B0604020202020204" pitchFamily="34" charset="0"/>
              </a:rPr>
              <a:t>Maven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20" dirty="0">
                <a:latin typeface="Arial" panose="020B0604020202020204" pitchFamily="34" charset="0"/>
                <a:cs typeface="Arial" panose="020B0604020202020204" pitchFamily="34" charset="0"/>
              </a:rPr>
              <a:t>Postman</a:t>
            </a:r>
          </a:p>
          <a:p>
            <a:pPr eaLnBrk="1" hangingPunct="1">
              <a:lnSpc>
                <a:spcPct val="114000"/>
              </a:lnSpc>
            </a:pPr>
            <a:endParaRPr lang="en-US" altLang="nl-NL" sz="1020" b="1" dirty="0">
              <a:solidFill>
                <a:srgbClr val="0070A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lnSpc>
                <a:spcPct val="114000"/>
              </a:lnSpc>
            </a:pPr>
            <a:r>
              <a:rPr lang="en-US" altLang="nl-NL" sz="1020" b="1" dirty="0">
                <a:solidFill>
                  <a:srgbClr val="0070A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dditional Details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20" dirty="0">
                <a:latin typeface="Arial" panose="020B0604020202020204" pitchFamily="34" charset="0"/>
                <a:cs typeface="Arial" panose="020B0604020202020204" pitchFamily="34" charset="0"/>
              </a:rPr>
              <a:t>Leadership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20" dirty="0">
                <a:latin typeface="Arial" panose="020B0604020202020204" pitchFamily="34" charset="0"/>
                <a:cs typeface="Arial" panose="020B0604020202020204" pitchFamily="34" charset="0"/>
              </a:rPr>
              <a:t>Communication Skills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20" dirty="0">
                <a:latin typeface="Arial" panose="020B0604020202020204" pitchFamily="34" charset="0"/>
                <a:cs typeface="Arial" panose="020B0604020202020204" pitchFamily="34" charset="0"/>
              </a:rPr>
              <a:t>Team management</a:t>
            </a:r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>
                <a:solidFill>
                  <a:srgbClr val="FF0000"/>
                </a:solidFill>
              </a:rPr>
              <a:t> </a:t>
            </a:r>
          </a:p>
        </p:txBody>
      </p:sp>
      <p:sp>
        <p:nvSpPr>
          <p:cNvPr id="7178" name="Text Placeholder 1">
            <a:extLst>
              <a:ext uri="{FF2B5EF4-FFF2-40B4-BE49-F238E27FC236}">
                <a16:creationId xmlns:a16="http://schemas.microsoft.com/office/drawing/2014/main" id="{3959C7F9-3FBF-4100-BACD-7A75D3D2E90B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2468563" y="290513"/>
            <a:ext cx="6223000" cy="306387"/>
          </a:xfrm>
        </p:spPr>
        <p:txBody>
          <a:bodyPr/>
          <a:lstStyle/>
          <a:p>
            <a:r>
              <a:rPr lang="en-IN" altLang="en-US" dirty="0">
                <a:latin typeface="Arial" panose="020B0604020202020204" pitchFamily="34" charset="0"/>
                <a:cs typeface="Arial" panose="020B0604020202020204" pitchFamily="34" charset="0"/>
              </a:rPr>
              <a:t>Lakshmi Chapala</a:t>
            </a:r>
          </a:p>
        </p:txBody>
      </p:sp>
      <p:pic>
        <p:nvPicPr>
          <p:cNvPr id="7179" name="Picture 7">
            <a:hlinkClick r:id="rId3"/>
            <a:extLst>
              <a:ext uri="{FF2B5EF4-FFF2-40B4-BE49-F238E27FC236}">
                <a16:creationId xmlns:a16="http://schemas.microsoft.com/office/drawing/2014/main" id="{12618B16-99B6-4F89-A145-C5939A93831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582" t="2058" r="24332" b="4875"/>
          <a:stretch>
            <a:fillRect/>
          </a:stretch>
        </p:blipFill>
        <p:spPr bwMode="auto">
          <a:xfrm>
            <a:off x="4035329" y="6279621"/>
            <a:ext cx="437805" cy="4378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181" name="Picture 6" descr="Movie, play, video icon">
            <a:hlinkClick r:id="rId5"/>
            <a:extLst>
              <a:ext uri="{FF2B5EF4-FFF2-40B4-BE49-F238E27FC236}">
                <a16:creationId xmlns:a16="http://schemas.microsoft.com/office/drawing/2014/main" id="{568E79A1-196A-4599-9F1F-AD39B99F122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7705" y="6279621"/>
            <a:ext cx="437805" cy="4363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183" name="Text Placeholder 25">
            <a:extLst>
              <a:ext uri="{FF2B5EF4-FFF2-40B4-BE49-F238E27FC236}">
                <a16:creationId xmlns:a16="http://schemas.microsoft.com/office/drawing/2014/main" id="{B8C26D43-3971-4B32-9403-96D3E3AC5656}"/>
              </a:ext>
            </a:extLst>
          </p:cNvPr>
          <p:cNvSpPr txBox="1">
            <a:spLocks noChangeArrowheads="1"/>
          </p:cNvSpPr>
          <p:nvPr/>
        </p:nvSpPr>
        <p:spPr bwMode="white">
          <a:xfrm>
            <a:off x="3063975" y="1969294"/>
            <a:ext cx="2381250" cy="330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lnSpc>
                <a:spcPts val="2200"/>
              </a:lnSpc>
              <a:spcAft>
                <a:spcPts val="60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233363" indent="-228600">
              <a:lnSpc>
                <a:spcPts val="2000"/>
              </a:lnSpc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457200" indent="-223838">
              <a:lnSpc>
                <a:spcPts val="16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690563" indent="-233363">
              <a:lnSpc>
                <a:spcPct val="900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‒"/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/>
            <a:r>
              <a:rPr lang="nl-NL" altLang="nl-NL" sz="1100" dirty="0">
                <a:solidFill>
                  <a:schemeClr val="bg1"/>
                </a:solidFill>
              </a:rPr>
              <a:t>A4</a:t>
            </a:r>
          </a:p>
        </p:txBody>
      </p:sp>
      <p:pic>
        <p:nvPicPr>
          <p:cNvPr id="17" name="Picture Placeholder 16" descr="A picture containing person&#10;&#10;Description automatically generated">
            <a:extLst>
              <a:ext uri="{FF2B5EF4-FFF2-40B4-BE49-F238E27FC236}">
                <a16:creationId xmlns:a16="http://schemas.microsoft.com/office/drawing/2014/main" id="{5A44A0FE-CE3F-460F-A54D-26ADC652B99D}"/>
              </a:ext>
            </a:extLst>
          </p:cNvPr>
          <p:cNvPicPr>
            <a:picLocks noGrp="1" noChangeAspect="1"/>
          </p:cNvPicPr>
          <p:nvPr>
            <p:ph type="pic" sz="quarter" idx="46"/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280" b="15280"/>
          <a:stretch>
            <a:fillRect/>
          </a:stretch>
        </p:blipFill>
        <p:spPr/>
      </p:pic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apgemini Master">
  <a:themeElements>
    <a:clrScheme name="Personnalisé 1">
      <a:dk1>
        <a:sysClr val="windowText" lastClr="000000"/>
      </a:dk1>
      <a:lt1>
        <a:srgbClr val="FFFFFF"/>
      </a:lt1>
      <a:dk2>
        <a:srgbClr val="2B143D"/>
      </a:dk2>
      <a:lt2>
        <a:srgbClr val="ECECEC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pt-template.potx" id="{19B96144-1B90-4243-8535-F36EF2586247}" vid="{2C859F1C-AF6F-49E9-BAD6-1D458EC0F9B7}"/>
    </a:ext>
  </a:extLst>
</a:theme>
</file>

<file path=ppt/theme/theme2.xml><?xml version="1.0" encoding="utf-8"?>
<a:theme xmlns:a="http://schemas.openxmlformats.org/drawingml/2006/main" name="Tema do Office">
  <a:themeElements>
    <a:clrScheme name="Capgemini Palette">
      <a:dk1>
        <a:sysClr val="windowText" lastClr="000000"/>
      </a:dk1>
      <a:lt1>
        <a:srgbClr val="FFFFFF"/>
      </a:lt1>
      <a:dk2>
        <a:srgbClr val="2B143D"/>
      </a:dk2>
      <a:lt2>
        <a:srgbClr val="E6E7E7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Capgemini Palette">
      <a:dk1>
        <a:sysClr val="windowText" lastClr="000000"/>
      </a:dk1>
      <a:lt1>
        <a:srgbClr val="FFFFFF"/>
      </a:lt1>
      <a:dk2>
        <a:srgbClr val="2B143D"/>
      </a:dk2>
      <a:lt2>
        <a:srgbClr val="E6E7E7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002ACB8F81EC8489A4DF17045E90748" ma:contentTypeVersion="7" ma:contentTypeDescription="Create a new document." ma:contentTypeScope="" ma:versionID="14eca6baf0dc776edd3b59ffa3a025ba">
  <xsd:schema xmlns:xsd="http://www.w3.org/2001/XMLSchema" xmlns:xs="http://www.w3.org/2001/XMLSchema" xmlns:p="http://schemas.microsoft.com/office/2006/metadata/properties" xmlns:ns3="fd33c62d-2c11-46e7-88a2-e90fa986d9d0" xmlns:ns4="47da6acf-edf2-43bc-9595-f721a214a14e" targetNamespace="http://schemas.microsoft.com/office/2006/metadata/properties" ma:root="true" ma:fieldsID="5aa4caa8a8c18e5332c88e7cf95cf085" ns3:_="" ns4:_="">
    <xsd:import namespace="fd33c62d-2c11-46e7-88a2-e90fa986d9d0"/>
    <xsd:import namespace="47da6acf-edf2-43bc-9595-f721a214a14e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4:MediaServiceAutoTags" minOccurs="0"/>
                <xsd:element ref="ns4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d33c62d-2c11-46e7-88a2-e90fa986d9d0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Sharing Hint Hash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7da6acf-edf2-43bc-9595-f721a214a14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E4D25D96-23E3-4774-8182-19BEEAF42C6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d33c62d-2c11-46e7-88a2-e90fa986d9d0"/>
    <ds:schemaRef ds:uri="47da6acf-edf2-43bc-9595-f721a214a14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86B5E10D-1A37-4C30-B41B-C15D05619982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A2EFE742-3A8E-4E5A-B843-9354826E5980}">
  <ds:schemaRefs>
    <ds:schemaRef ds:uri="http://schemas.microsoft.com/office/2006/metadata/properties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new_branding_ppt-template_1132017</Template>
  <TotalTime>41109</TotalTime>
  <Words>250</Words>
  <Application>Microsoft Office PowerPoint</Application>
  <PresentationFormat>Widescreen</PresentationFormat>
  <Paragraphs>56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rial</vt:lpstr>
      <vt:lpstr>Verdana</vt:lpstr>
      <vt:lpstr>Wingdings</vt:lpstr>
      <vt:lpstr>Capgemini Master</vt:lpstr>
      <vt:lpstr>think-cell Slide</vt:lpstr>
      <vt:lpstr>PowerPoint Presentation</vt:lpstr>
    </vt:vector>
  </TitlesOfParts>
  <Company>Capgemini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of the presentation 2 lines</dc:title>
  <dc:creator>Kuzhivelil, Jose</dc:creator>
  <cp:lastModifiedBy>Chapala, Lakshmi</cp:lastModifiedBy>
  <cp:revision>108</cp:revision>
  <dcterms:created xsi:type="dcterms:W3CDTF">2017-12-08T05:27:40Z</dcterms:created>
  <dcterms:modified xsi:type="dcterms:W3CDTF">2022-03-25T08:22:2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002ACB8F81EC8489A4DF17045E90748</vt:lpwstr>
  </property>
</Properties>
</file>